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15"/>
  </p:notesMasterIdLst>
  <p:sldIdLst>
    <p:sldId id="256" r:id="rId2"/>
    <p:sldId id="257" r:id="rId3"/>
    <p:sldId id="267" r:id="rId4"/>
    <p:sldId id="282" r:id="rId5"/>
    <p:sldId id="283" r:id="rId6"/>
    <p:sldId id="284" r:id="rId7"/>
    <p:sldId id="288" r:id="rId8"/>
    <p:sldId id="289" r:id="rId9"/>
    <p:sldId id="285" r:id="rId10"/>
    <p:sldId id="286" r:id="rId11"/>
    <p:sldId id="291" r:id="rId12"/>
    <p:sldId id="287" r:id="rId13"/>
    <p:sldId id="280" r:id="rId14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249" autoAdjust="0"/>
  </p:normalViewPr>
  <p:slideViewPr>
    <p:cSldViewPr>
      <p:cViewPr varScale="1">
        <p:scale>
          <a:sx n="85" d="100"/>
          <a:sy n="85" d="100"/>
        </p:scale>
        <p:origin x="966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jkumar Cheney Krishnan" userId="ea01f48e-78a0-419f-b0c5-17f78ad4393d" providerId="ADAL" clId="{19F8AACF-46C4-4F25-BEC8-ECFDDF7141C3}"/>
    <pc:docChg chg="undo custSel addSld delSld modSld">
      <pc:chgData name="Rajkumar Cheney Krishnan" userId="ea01f48e-78a0-419f-b0c5-17f78ad4393d" providerId="ADAL" clId="{19F8AACF-46C4-4F25-BEC8-ECFDDF7141C3}" dt="2021-08-05T23:22:28.015" v="3036" actId="20577"/>
      <pc:docMkLst>
        <pc:docMk/>
      </pc:docMkLst>
      <pc:sldChg chg="addSp delSp modSp mod modNotesTx">
        <pc:chgData name="Rajkumar Cheney Krishnan" userId="ea01f48e-78a0-419f-b0c5-17f78ad4393d" providerId="ADAL" clId="{19F8AACF-46C4-4F25-BEC8-ECFDDF7141C3}" dt="2021-08-05T22:36:59.145" v="2865"/>
        <pc:sldMkLst>
          <pc:docMk/>
          <pc:sldMk cId="0" sldId="256"/>
        </pc:sldMkLst>
        <pc:spChg chg="mod">
          <ac:chgData name="Rajkumar Cheney Krishnan" userId="ea01f48e-78a0-419f-b0c5-17f78ad4393d" providerId="ADAL" clId="{19F8AACF-46C4-4F25-BEC8-ECFDDF7141C3}" dt="2021-08-05T22:36:59.058" v="2824" actId="948"/>
          <ac:spMkLst>
            <pc:docMk/>
            <pc:sldMk cId="0" sldId="256"/>
            <ac:spMk id="2" creationId="{00000000-0000-0000-0000-000000000000}"/>
          </ac:spMkLst>
        </pc:spChg>
        <pc:spChg chg="mod">
          <ac:chgData name="Rajkumar Cheney Krishnan" userId="ea01f48e-78a0-419f-b0c5-17f78ad4393d" providerId="ADAL" clId="{19F8AACF-46C4-4F25-BEC8-ECFDDF7141C3}" dt="2021-08-04T21:03:47.266" v="435" actId="255"/>
          <ac:spMkLst>
            <pc:docMk/>
            <pc:sldMk cId="0" sldId="256"/>
            <ac:spMk id="3" creationId="{00000000-0000-0000-0000-000000000000}"/>
          </ac:spMkLst>
        </pc:spChg>
        <pc:spChg chg="add del mod modVis">
          <ac:chgData name="Rajkumar Cheney Krishnan" userId="ea01f48e-78a0-419f-b0c5-17f78ad4393d" providerId="ADAL" clId="{19F8AACF-46C4-4F25-BEC8-ECFDDF7141C3}" dt="2021-08-04T21:02:23.155" v="50"/>
          <ac:spMkLst>
            <pc:docMk/>
            <pc:sldMk cId="0" sldId="256"/>
            <ac:spMk id="4" creationId="{2D8CDF06-6602-4655-8D51-521602CB7BFC}"/>
          </ac:spMkLst>
        </pc:spChg>
        <pc:spChg chg="add del mod modVis">
          <ac:chgData name="Rajkumar Cheney Krishnan" userId="ea01f48e-78a0-419f-b0c5-17f78ad4393d" providerId="ADAL" clId="{19F8AACF-46C4-4F25-BEC8-ECFDDF7141C3}" dt="2021-08-05T22:36:24.015" v="2655"/>
          <ac:spMkLst>
            <pc:docMk/>
            <pc:sldMk cId="0" sldId="256"/>
            <ac:spMk id="4" creationId="{33B8D472-C522-4943-A9A0-5C5D5364F16A}"/>
          </ac:spMkLst>
        </pc:spChg>
        <pc:spChg chg="add del mod modVis">
          <ac:chgData name="Rajkumar Cheney Krishnan" userId="ea01f48e-78a0-419f-b0c5-17f78ad4393d" providerId="ADAL" clId="{19F8AACF-46C4-4F25-BEC8-ECFDDF7141C3}" dt="2021-08-04T21:02:27.289" v="96"/>
          <ac:spMkLst>
            <pc:docMk/>
            <pc:sldMk cId="0" sldId="256"/>
            <ac:spMk id="6" creationId="{455A4721-7ECC-49D6-AEB6-34E32FED540C}"/>
          </ac:spMkLst>
        </pc:spChg>
        <pc:spChg chg="add del mod modVis">
          <ac:chgData name="Rajkumar Cheney Krishnan" userId="ea01f48e-78a0-419f-b0c5-17f78ad4393d" providerId="ADAL" clId="{19F8AACF-46C4-4F25-BEC8-ECFDDF7141C3}" dt="2021-08-05T22:36:34.753" v="2716"/>
          <ac:spMkLst>
            <pc:docMk/>
            <pc:sldMk cId="0" sldId="256"/>
            <ac:spMk id="6" creationId="{6B73CD69-78BD-4031-86FA-080C6F82F073}"/>
          </ac:spMkLst>
        </pc:spChg>
        <pc:spChg chg="add del mod modVis">
          <ac:chgData name="Rajkumar Cheney Krishnan" userId="ea01f48e-78a0-419f-b0c5-17f78ad4393d" providerId="ADAL" clId="{19F8AACF-46C4-4F25-BEC8-ECFDDF7141C3}" dt="2021-08-04T21:02:31.874" v="147"/>
          <ac:spMkLst>
            <pc:docMk/>
            <pc:sldMk cId="0" sldId="256"/>
            <ac:spMk id="7" creationId="{20287B4A-304C-4CBE-8C69-05C7E4F2E0E9}"/>
          </ac:spMkLst>
        </pc:spChg>
        <pc:spChg chg="add del mod modVis">
          <ac:chgData name="Rajkumar Cheney Krishnan" userId="ea01f48e-78a0-419f-b0c5-17f78ad4393d" providerId="ADAL" clId="{19F8AACF-46C4-4F25-BEC8-ECFDDF7141C3}" dt="2021-08-05T22:36:35.934" v="2762"/>
          <ac:spMkLst>
            <pc:docMk/>
            <pc:sldMk cId="0" sldId="256"/>
            <ac:spMk id="7" creationId="{F1716943-85BA-48C5-AD03-B813CCE62025}"/>
          </ac:spMkLst>
        </pc:spChg>
        <pc:spChg chg="add del mod modVis">
          <ac:chgData name="Rajkumar Cheney Krishnan" userId="ea01f48e-78a0-419f-b0c5-17f78ad4393d" providerId="ADAL" clId="{19F8AACF-46C4-4F25-BEC8-ECFDDF7141C3}" dt="2021-08-04T21:02:32.852" v="190"/>
          <ac:spMkLst>
            <pc:docMk/>
            <pc:sldMk cId="0" sldId="256"/>
            <ac:spMk id="8" creationId="{74988856-135D-4A5E-BAB5-07390D99A31A}"/>
          </ac:spMkLst>
        </pc:spChg>
        <pc:spChg chg="add del mod modVis">
          <ac:chgData name="Rajkumar Cheney Krishnan" userId="ea01f48e-78a0-419f-b0c5-17f78ad4393d" providerId="ADAL" clId="{19F8AACF-46C4-4F25-BEC8-ECFDDF7141C3}" dt="2021-08-05T22:36:41.535" v="2820"/>
          <ac:spMkLst>
            <pc:docMk/>
            <pc:sldMk cId="0" sldId="256"/>
            <ac:spMk id="8" creationId="{DF3909A0-957E-497B-B363-6BE48D5DC7CC}"/>
          </ac:spMkLst>
        </pc:spChg>
        <pc:spChg chg="add del mod modVis">
          <ac:chgData name="Rajkumar Cheney Krishnan" userId="ea01f48e-78a0-419f-b0c5-17f78ad4393d" providerId="ADAL" clId="{19F8AACF-46C4-4F25-BEC8-ECFDDF7141C3}" dt="2021-08-05T22:36:59.134" v="2863"/>
          <ac:spMkLst>
            <pc:docMk/>
            <pc:sldMk cId="0" sldId="256"/>
            <ac:spMk id="9" creationId="{357BD24F-3D96-4681-979A-A1E245AB5661}"/>
          </ac:spMkLst>
        </pc:spChg>
        <pc:spChg chg="add del mod modVis">
          <ac:chgData name="Rajkumar Cheney Krishnan" userId="ea01f48e-78a0-419f-b0c5-17f78ad4393d" providerId="ADAL" clId="{19F8AACF-46C4-4F25-BEC8-ECFDDF7141C3}" dt="2021-08-04T21:02:34.536" v="240"/>
          <ac:spMkLst>
            <pc:docMk/>
            <pc:sldMk cId="0" sldId="256"/>
            <ac:spMk id="9" creationId="{D4196A72-749E-4D35-A652-158FFBA02D3C}"/>
          </ac:spMkLst>
        </pc:spChg>
        <pc:spChg chg="add del mod modVis">
          <ac:chgData name="Rajkumar Cheney Krishnan" userId="ea01f48e-78a0-419f-b0c5-17f78ad4393d" providerId="ADAL" clId="{19F8AACF-46C4-4F25-BEC8-ECFDDF7141C3}" dt="2021-08-04T21:03:25.070" v="294"/>
          <ac:spMkLst>
            <pc:docMk/>
            <pc:sldMk cId="0" sldId="256"/>
            <ac:spMk id="10" creationId="{603E6FC6-9FFB-4D43-8AB5-C59D01A81563}"/>
          </ac:spMkLst>
        </pc:spChg>
        <pc:spChg chg="add del mod modVis">
          <ac:chgData name="Rajkumar Cheney Krishnan" userId="ea01f48e-78a0-419f-b0c5-17f78ad4393d" providerId="ADAL" clId="{19F8AACF-46C4-4F25-BEC8-ECFDDF7141C3}" dt="2021-08-04T21:03:26.286" v="337"/>
          <ac:spMkLst>
            <pc:docMk/>
            <pc:sldMk cId="0" sldId="256"/>
            <ac:spMk id="11" creationId="{4611A8E5-E972-4953-A699-0AA564436769}"/>
          </ac:spMkLst>
        </pc:spChg>
        <pc:spChg chg="add del mod modVis">
          <ac:chgData name="Rajkumar Cheney Krishnan" userId="ea01f48e-78a0-419f-b0c5-17f78ad4393d" providerId="ADAL" clId="{19F8AACF-46C4-4F25-BEC8-ECFDDF7141C3}" dt="2021-08-04T21:03:28.395" v="386"/>
          <ac:spMkLst>
            <pc:docMk/>
            <pc:sldMk cId="0" sldId="256"/>
            <ac:spMk id="12" creationId="{E53995A7-D8B1-4F90-A380-C757C7F9994B}"/>
          </ac:spMkLst>
        </pc:spChg>
        <pc:spChg chg="add del mod modVis">
          <ac:chgData name="Rajkumar Cheney Krishnan" userId="ea01f48e-78a0-419f-b0c5-17f78ad4393d" providerId="ADAL" clId="{19F8AACF-46C4-4F25-BEC8-ECFDDF7141C3}" dt="2021-08-04T21:03:30.659" v="429"/>
          <ac:spMkLst>
            <pc:docMk/>
            <pc:sldMk cId="0" sldId="256"/>
            <ac:spMk id="13" creationId="{060FFC5C-B4BB-40CD-AA8D-758A31CD8C51}"/>
          </ac:spMkLst>
        </pc:spChg>
        <pc:graphicFrameChg chg="mod">
          <ac:chgData name="Rajkumar Cheney Krishnan" userId="ea01f48e-78a0-419f-b0c5-17f78ad4393d" providerId="ADAL" clId="{19F8AACF-46C4-4F25-BEC8-ECFDDF7141C3}" dt="2021-08-05T22:36:59.145" v="2865"/>
          <ac:graphicFrameMkLst>
            <pc:docMk/>
            <pc:sldMk cId="0" sldId="256"/>
            <ac:graphicFrameMk id="5" creationId="{72F89165-74A0-4804-A7BD-069A7CCE652A}"/>
          </ac:graphicFrameMkLst>
        </pc:graphicFrameChg>
      </pc:sldChg>
      <pc:sldChg chg="addSp delSp modSp mod modNotes modNotesTx">
        <pc:chgData name="Rajkumar Cheney Krishnan" userId="ea01f48e-78a0-419f-b0c5-17f78ad4393d" providerId="ADAL" clId="{19F8AACF-46C4-4F25-BEC8-ECFDDF7141C3}" dt="2021-08-04T22:37:21.337" v="2492" actId="20577"/>
        <pc:sldMkLst>
          <pc:docMk/>
          <pc:sldMk cId="0" sldId="257"/>
        </pc:sldMkLst>
        <pc:spChg chg="mod">
          <ac:chgData name="Rajkumar Cheney Krishnan" userId="ea01f48e-78a0-419f-b0c5-17f78ad4393d" providerId="ADAL" clId="{19F8AACF-46C4-4F25-BEC8-ECFDDF7141C3}" dt="2021-08-04T21:05:46.582" v="736" actId="948"/>
          <ac:spMkLst>
            <pc:docMk/>
            <pc:sldMk cId="0" sldId="257"/>
            <ac:spMk id="2" creationId="{00000000-0000-0000-0000-000000000000}"/>
          </ac:spMkLst>
        </pc:spChg>
        <pc:spChg chg="mod">
          <ac:chgData name="Rajkumar Cheney Krishnan" userId="ea01f48e-78a0-419f-b0c5-17f78ad4393d" providerId="ADAL" clId="{19F8AACF-46C4-4F25-BEC8-ECFDDF7141C3}" dt="2021-08-04T22:37:21.337" v="2492" actId="20577"/>
          <ac:spMkLst>
            <pc:docMk/>
            <pc:sldMk cId="0" sldId="257"/>
            <ac:spMk id="3" creationId="{00000000-0000-0000-0000-000000000000}"/>
          </ac:spMkLst>
        </pc:spChg>
        <pc:spChg chg="add del mod modVis">
          <ac:chgData name="Rajkumar Cheney Krishnan" userId="ea01f48e-78a0-419f-b0c5-17f78ad4393d" providerId="ADAL" clId="{19F8AACF-46C4-4F25-BEC8-ECFDDF7141C3}" dt="2021-08-04T21:05:39.588" v="705" actId="962"/>
          <ac:spMkLst>
            <pc:docMk/>
            <pc:sldMk cId="0" sldId="257"/>
            <ac:spMk id="5" creationId="{FF5254C2-E310-436D-806B-348E7CAD6F2D}"/>
          </ac:spMkLst>
        </pc:spChg>
        <pc:spChg chg="add del mod modVis">
          <ac:chgData name="Rajkumar Cheney Krishnan" userId="ea01f48e-78a0-419f-b0c5-17f78ad4393d" providerId="ADAL" clId="{19F8AACF-46C4-4F25-BEC8-ECFDDF7141C3}" dt="2021-08-04T21:05:39.008" v="663" actId="962"/>
          <ac:spMkLst>
            <pc:docMk/>
            <pc:sldMk cId="0" sldId="257"/>
            <ac:spMk id="6" creationId="{618F54A2-26A9-44A8-BFAD-C9431FAA13C1}"/>
          </ac:spMkLst>
        </pc:spChg>
        <pc:spChg chg="add del mod modVis">
          <ac:chgData name="Rajkumar Cheney Krishnan" userId="ea01f48e-78a0-419f-b0c5-17f78ad4393d" providerId="ADAL" clId="{19F8AACF-46C4-4F25-BEC8-ECFDDF7141C3}" dt="2021-08-04T21:05:38.133" v="621" actId="962"/>
          <ac:spMkLst>
            <pc:docMk/>
            <pc:sldMk cId="0" sldId="257"/>
            <ac:spMk id="7" creationId="{5D0B8D2E-C1BE-4ABF-A89B-D8254A859AA6}"/>
          </ac:spMkLst>
        </pc:spChg>
        <pc:graphicFrameChg chg="mod">
          <ac:chgData name="Rajkumar Cheney Krishnan" userId="ea01f48e-78a0-419f-b0c5-17f78ad4393d" providerId="ADAL" clId="{19F8AACF-46C4-4F25-BEC8-ECFDDF7141C3}" dt="2021-08-04T21:05:46.589" v="738"/>
          <ac:graphicFrameMkLst>
            <pc:docMk/>
            <pc:sldMk cId="0" sldId="257"/>
            <ac:graphicFrameMk id="4" creationId="{8221081A-508A-4F85-B32D-E433108D0396}"/>
          </ac:graphicFrameMkLst>
        </pc:graphicFrameChg>
      </pc:sldChg>
      <pc:sldChg chg="addSp delSp modSp mod modNotesTx">
        <pc:chgData name="Rajkumar Cheney Krishnan" userId="ea01f48e-78a0-419f-b0c5-17f78ad4393d" providerId="ADAL" clId="{19F8AACF-46C4-4F25-BEC8-ECFDDF7141C3}" dt="2021-08-05T23:10:27.615" v="2935" actId="1076"/>
        <pc:sldMkLst>
          <pc:docMk/>
          <pc:sldMk cId="2513038086" sldId="267"/>
        </pc:sldMkLst>
        <pc:spChg chg="mod">
          <ac:chgData name="Rajkumar Cheney Krishnan" userId="ea01f48e-78a0-419f-b0c5-17f78ad4393d" providerId="ADAL" clId="{19F8AACF-46C4-4F25-BEC8-ECFDDF7141C3}" dt="2021-08-04T21:26:10.764" v="1133" actId="948"/>
          <ac:spMkLst>
            <pc:docMk/>
            <pc:sldMk cId="2513038086" sldId="267"/>
            <ac:spMk id="2" creationId="{00000000-0000-0000-0000-000000000000}"/>
          </ac:spMkLst>
        </pc:spChg>
        <pc:spChg chg="mod">
          <ac:chgData name="Rajkumar Cheney Krishnan" userId="ea01f48e-78a0-419f-b0c5-17f78ad4393d" providerId="ADAL" clId="{19F8AACF-46C4-4F25-BEC8-ECFDDF7141C3}" dt="2021-08-05T21:52:57.969" v="2494" actId="20577"/>
          <ac:spMkLst>
            <pc:docMk/>
            <pc:sldMk cId="2513038086" sldId="267"/>
            <ac:spMk id="3" creationId="{00000000-0000-0000-0000-000000000000}"/>
          </ac:spMkLst>
        </pc:spChg>
        <pc:spChg chg="add del mod modVis">
          <ac:chgData name="Rajkumar Cheney Krishnan" userId="ea01f48e-78a0-419f-b0c5-17f78ad4393d" providerId="ADAL" clId="{19F8AACF-46C4-4F25-BEC8-ECFDDF7141C3}" dt="2021-08-04T21:26:08.904" v="1125"/>
          <ac:spMkLst>
            <pc:docMk/>
            <pc:sldMk cId="2513038086" sldId="267"/>
            <ac:spMk id="5" creationId="{0D53A913-52D3-4CAB-A276-28154E2CBFEA}"/>
          </ac:spMkLst>
        </pc:spChg>
        <pc:spChg chg="add del mod modVis">
          <ac:chgData name="Rajkumar Cheney Krishnan" userId="ea01f48e-78a0-419f-b0c5-17f78ad4393d" providerId="ADAL" clId="{19F8AACF-46C4-4F25-BEC8-ECFDDF7141C3}" dt="2021-08-04T21:26:10.845" v="1172"/>
          <ac:spMkLst>
            <pc:docMk/>
            <pc:sldMk cId="2513038086" sldId="267"/>
            <ac:spMk id="6" creationId="{79206946-F4EB-473D-82BD-A2F6CCBB7E93}"/>
          </ac:spMkLst>
        </pc:spChg>
        <pc:graphicFrameChg chg="mod">
          <ac:chgData name="Rajkumar Cheney Krishnan" userId="ea01f48e-78a0-419f-b0c5-17f78ad4393d" providerId="ADAL" clId="{19F8AACF-46C4-4F25-BEC8-ECFDDF7141C3}" dt="2021-08-04T21:26:10.857" v="1174"/>
          <ac:graphicFrameMkLst>
            <pc:docMk/>
            <pc:sldMk cId="2513038086" sldId="267"/>
            <ac:graphicFrameMk id="4" creationId="{8221081A-508A-4F85-B32D-E433108D0396}"/>
          </ac:graphicFrameMkLst>
        </pc:graphicFrameChg>
        <pc:picChg chg="add mod modCrop">
          <ac:chgData name="Rajkumar Cheney Krishnan" userId="ea01f48e-78a0-419f-b0c5-17f78ad4393d" providerId="ADAL" clId="{19F8AACF-46C4-4F25-BEC8-ECFDDF7141C3}" dt="2021-08-05T23:10:27.615" v="2935" actId="1076"/>
          <ac:picMkLst>
            <pc:docMk/>
            <pc:sldMk cId="2513038086" sldId="267"/>
            <ac:picMk id="8" creationId="{80BAD619-2A69-4C98-AA58-86E7E47CB748}"/>
          </ac:picMkLst>
        </pc:picChg>
      </pc:sldChg>
      <pc:sldChg chg="addSp delSp modSp del mod modTransition modShow modNotesTx">
        <pc:chgData name="Rajkumar Cheney Krishnan" userId="ea01f48e-78a0-419f-b0c5-17f78ad4393d" providerId="ADAL" clId="{19F8AACF-46C4-4F25-BEC8-ECFDDF7141C3}" dt="2021-08-05T21:56:42.751" v="2519" actId="2696"/>
        <pc:sldMkLst>
          <pc:docMk/>
          <pc:sldMk cId="1984135291" sldId="268"/>
        </pc:sldMkLst>
        <pc:spChg chg="mod">
          <ac:chgData name="Rajkumar Cheney Krishnan" userId="ea01f48e-78a0-419f-b0c5-17f78ad4393d" providerId="ADAL" clId="{19F8AACF-46C4-4F25-BEC8-ECFDDF7141C3}" dt="2021-08-04T22:36:25.618" v="2432" actId="948"/>
          <ac:spMkLst>
            <pc:docMk/>
            <pc:sldMk cId="1984135291" sldId="268"/>
            <ac:spMk id="2" creationId="{00000000-0000-0000-0000-000000000000}"/>
          </ac:spMkLst>
        </pc:spChg>
        <pc:spChg chg="mod">
          <ac:chgData name="Rajkumar Cheney Krishnan" userId="ea01f48e-78a0-419f-b0c5-17f78ad4393d" providerId="ADAL" clId="{19F8AACF-46C4-4F25-BEC8-ECFDDF7141C3}" dt="2021-08-04T22:36:04.324" v="2414" actId="20577"/>
          <ac:spMkLst>
            <pc:docMk/>
            <pc:sldMk cId="1984135291" sldId="268"/>
            <ac:spMk id="3" creationId="{00000000-0000-0000-0000-000000000000}"/>
          </ac:spMkLst>
        </pc:spChg>
        <pc:spChg chg="add del mod modVis">
          <ac:chgData name="Rajkumar Cheney Krishnan" userId="ea01f48e-78a0-419f-b0c5-17f78ad4393d" providerId="ADAL" clId="{19F8AACF-46C4-4F25-BEC8-ECFDDF7141C3}" dt="2021-08-04T21:37:59.837" v="1395"/>
          <ac:spMkLst>
            <pc:docMk/>
            <pc:sldMk cId="1984135291" sldId="268"/>
            <ac:spMk id="5" creationId="{772AA2EB-E6FF-4AC2-9B52-C3DBFD709ABB}"/>
          </ac:spMkLst>
        </pc:spChg>
        <pc:spChg chg="add del mod modVis">
          <ac:chgData name="Rajkumar Cheney Krishnan" userId="ea01f48e-78a0-419f-b0c5-17f78ad4393d" providerId="ADAL" clId="{19F8AACF-46C4-4F25-BEC8-ECFDDF7141C3}" dt="2021-08-04T21:38:00.608" v="1439"/>
          <ac:spMkLst>
            <pc:docMk/>
            <pc:sldMk cId="1984135291" sldId="268"/>
            <ac:spMk id="6" creationId="{E284B82A-E0FC-4B9A-8952-7B7FD5EC8021}"/>
          </ac:spMkLst>
        </pc:spChg>
        <pc:spChg chg="add del mod modVis">
          <ac:chgData name="Rajkumar Cheney Krishnan" userId="ea01f48e-78a0-419f-b0c5-17f78ad4393d" providerId="ADAL" clId="{19F8AACF-46C4-4F25-BEC8-ECFDDF7141C3}" dt="2021-08-04T21:38:01.223" v="1482"/>
          <ac:spMkLst>
            <pc:docMk/>
            <pc:sldMk cId="1984135291" sldId="268"/>
            <ac:spMk id="7" creationId="{D97ADA38-B8B5-436D-8356-DCB21D4D50A8}"/>
          </ac:spMkLst>
        </pc:spChg>
        <pc:spChg chg="add del mod modVis">
          <ac:chgData name="Rajkumar Cheney Krishnan" userId="ea01f48e-78a0-419f-b0c5-17f78ad4393d" providerId="ADAL" clId="{19F8AACF-46C4-4F25-BEC8-ECFDDF7141C3}" dt="2021-08-04T21:38:03.085" v="1527"/>
          <ac:spMkLst>
            <pc:docMk/>
            <pc:sldMk cId="1984135291" sldId="268"/>
            <ac:spMk id="8" creationId="{B42A900F-56CE-4482-BE3F-DD59C71D59C5}"/>
          </ac:spMkLst>
        </pc:spChg>
        <pc:spChg chg="add del mod modVis">
          <ac:chgData name="Rajkumar Cheney Krishnan" userId="ea01f48e-78a0-419f-b0c5-17f78ad4393d" providerId="ADAL" clId="{19F8AACF-46C4-4F25-BEC8-ECFDDF7141C3}" dt="2021-08-04T21:38:03.922" v="1570"/>
          <ac:spMkLst>
            <pc:docMk/>
            <pc:sldMk cId="1984135291" sldId="268"/>
            <ac:spMk id="9" creationId="{38AE8FBF-E068-46C1-8766-E2DCF7634630}"/>
          </ac:spMkLst>
        </pc:spChg>
        <pc:spChg chg="add del mod modVis">
          <ac:chgData name="Rajkumar Cheney Krishnan" userId="ea01f48e-78a0-419f-b0c5-17f78ad4393d" providerId="ADAL" clId="{19F8AACF-46C4-4F25-BEC8-ECFDDF7141C3}" dt="2021-08-04T21:38:04.635" v="1614"/>
          <ac:spMkLst>
            <pc:docMk/>
            <pc:sldMk cId="1984135291" sldId="268"/>
            <ac:spMk id="10" creationId="{DC4A5A14-7CAD-4D48-815B-3FB38FC260E7}"/>
          </ac:spMkLst>
        </pc:spChg>
        <pc:spChg chg="add del mod modVis">
          <ac:chgData name="Rajkumar Cheney Krishnan" userId="ea01f48e-78a0-419f-b0c5-17f78ad4393d" providerId="ADAL" clId="{19F8AACF-46C4-4F25-BEC8-ECFDDF7141C3}" dt="2021-08-04T21:38:05.805" v="1659"/>
          <ac:spMkLst>
            <pc:docMk/>
            <pc:sldMk cId="1984135291" sldId="268"/>
            <ac:spMk id="11" creationId="{3340F0B8-0704-4F8F-BC3C-9AE4FD987676}"/>
          </ac:spMkLst>
        </pc:spChg>
        <pc:graphicFrameChg chg="mod">
          <ac:chgData name="Rajkumar Cheney Krishnan" userId="ea01f48e-78a0-419f-b0c5-17f78ad4393d" providerId="ADAL" clId="{19F8AACF-46C4-4F25-BEC8-ECFDDF7141C3}" dt="2021-08-04T22:36:25.627" v="2434"/>
          <ac:graphicFrameMkLst>
            <pc:docMk/>
            <pc:sldMk cId="1984135291" sldId="268"/>
            <ac:graphicFrameMk id="4" creationId="{8221081A-508A-4F85-B32D-E433108D0396}"/>
          </ac:graphicFrameMkLst>
        </pc:graphicFrameChg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1307443220" sldId="269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1727927718" sldId="270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817846510" sldId="271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2318536379" sldId="272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506902741" sldId="274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255977046" sldId="275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1003835895" sldId="276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2996852240" sldId="277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124826501" sldId="278"/>
        </pc:sldMkLst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3908162628" sldId="279"/>
        </pc:sldMkLst>
      </pc:sldChg>
      <pc:sldChg chg="addSp delSp modSp mod modNotesTx">
        <pc:chgData name="Rajkumar Cheney Krishnan" userId="ea01f48e-78a0-419f-b0c5-17f78ad4393d" providerId="ADAL" clId="{19F8AACF-46C4-4F25-BEC8-ECFDDF7141C3}" dt="2021-08-05T21:56:53.409" v="2611"/>
        <pc:sldMkLst>
          <pc:docMk/>
          <pc:sldMk cId="1836757544" sldId="280"/>
        </pc:sldMkLst>
        <pc:spChg chg="mod">
          <ac:chgData name="Rajkumar Cheney Krishnan" userId="ea01f48e-78a0-419f-b0c5-17f78ad4393d" providerId="ADAL" clId="{19F8AACF-46C4-4F25-BEC8-ECFDDF7141C3}" dt="2021-08-05T21:56:53.346" v="2570" actId="948"/>
          <ac:spMkLst>
            <pc:docMk/>
            <pc:sldMk cId="1836757544" sldId="280"/>
            <ac:spMk id="2" creationId="{00000000-0000-0000-0000-000000000000}"/>
          </ac:spMkLst>
        </pc:spChg>
        <pc:spChg chg="add del mod modVis">
          <ac:chgData name="Rajkumar Cheney Krishnan" userId="ea01f48e-78a0-419f-b0c5-17f78ad4393d" providerId="ADAL" clId="{19F8AACF-46C4-4F25-BEC8-ECFDDF7141C3}" dt="2021-08-05T21:56:50.096" v="2566"/>
          <ac:spMkLst>
            <pc:docMk/>
            <pc:sldMk cId="1836757544" sldId="280"/>
            <ac:spMk id="3" creationId="{AB9992CD-BF49-4DBD-A0A5-6BB3A1739BBC}"/>
          </ac:spMkLst>
        </pc:spChg>
        <pc:spChg chg="add del mod modVis">
          <ac:chgData name="Rajkumar Cheney Krishnan" userId="ea01f48e-78a0-419f-b0c5-17f78ad4393d" providerId="ADAL" clId="{19F8AACF-46C4-4F25-BEC8-ECFDDF7141C3}" dt="2021-08-05T21:56:53.404" v="2609"/>
          <ac:spMkLst>
            <pc:docMk/>
            <pc:sldMk cId="1836757544" sldId="280"/>
            <ac:spMk id="5" creationId="{E26AED3C-F9C3-43AD-A86E-D600DF16B12D}"/>
          </ac:spMkLst>
        </pc:spChg>
        <pc:graphicFrameChg chg="mod">
          <ac:chgData name="Rajkumar Cheney Krishnan" userId="ea01f48e-78a0-419f-b0c5-17f78ad4393d" providerId="ADAL" clId="{19F8AACF-46C4-4F25-BEC8-ECFDDF7141C3}" dt="2021-08-05T21:56:53.409" v="2611"/>
          <ac:graphicFrameMkLst>
            <pc:docMk/>
            <pc:sldMk cId="1836757544" sldId="280"/>
            <ac:graphicFrameMk id="4" creationId="{8221081A-508A-4F85-B32D-E433108D0396}"/>
          </ac:graphicFrameMkLst>
        </pc:graphicFrameChg>
      </pc:sldChg>
      <pc:sldChg chg="del">
        <pc:chgData name="Rajkumar Cheney Krishnan" userId="ea01f48e-78a0-419f-b0c5-17f78ad4393d" providerId="ADAL" clId="{19F8AACF-46C4-4F25-BEC8-ECFDDF7141C3}" dt="2021-08-04T22:35:21.036" v="2411" actId="47"/>
        <pc:sldMkLst>
          <pc:docMk/>
          <pc:sldMk cId="1806789267" sldId="281"/>
        </pc:sldMkLst>
      </pc:sldChg>
      <pc:sldChg chg="addSp delSp modSp add mod">
        <pc:chgData name="Rajkumar Cheney Krishnan" userId="ea01f48e-78a0-419f-b0c5-17f78ad4393d" providerId="ADAL" clId="{19F8AACF-46C4-4F25-BEC8-ECFDDF7141C3}" dt="2021-08-04T21:41:50.641" v="1747" actId="20577"/>
        <pc:sldMkLst>
          <pc:docMk/>
          <pc:sldMk cId="3742223150" sldId="282"/>
        </pc:sldMkLst>
        <pc:spChg chg="mod">
          <ac:chgData name="Rajkumar Cheney Krishnan" userId="ea01f48e-78a0-419f-b0c5-17f78ad4393d" providerId="ADAL" clId="{19F8AACF-46C4-4F25-BEC8-ECFDDF7141C3}" dt="2021-08-04T21:38:31.279" v="1665" actId="948"/>
          <ac:spMkLst>
            <pc:docMk/>
            <pc:sldMk cId="3742223150" sldId="282"/>
            <ac:spMk id="2" creationId="{00000000-0000-0000-0000-000000000000}"/>
          </ac:spMkLst>
        </pc:spChg>
        <pc:spChg chg="mod">
          <ac:chgData name="Rajkumar Cheney Krishnan" userId="ea01f48e-78a0-419f-b0c5-17f78ad4393d" providerId="ADAL" clId="{19F8AACF-46C4-4F25-BEC8-ECFDDF7141C3}" dt="2021-08-04T21:41:50.641" v="1747" actId="20577"/>
          <ac:spMkLst>
            <pc:docMk/>
            <pc:sldMk cId="3742223150" sldId="282"/>
            <ac:spMk id="3" creationId="{00000000-0000-0000-0000-000000000000}"/>
          </ac:spMkLst>
        </pc:spChg>
        <pc:spChg chg="add del mod modVis">
          <ac:chgData name="Rajkumar Cheney Krishnan" userId="ea01f48e-78a0-419f-b0c5-17f78ad4393d" providerId="ADAL" clId="{19F8AACF-46C4-4F25-BEC8-ECFDDF7141C3}" dt="2021-08-04T21:38:31.383" v="1704"/>
          <ac:spMkLst>
            <pc:docMk/>
            <pc:sldMk cId="3742223150" sldId="282"/>
            <ac:spMk id="5" creationId="{0404563E-4152-4058-B2FA-5FC7AAD42D6C}"/>
          </ac:spMkLst>
        </pc:spChg>
        <pc:graphicFrameChg chg="mod">
          <ac:chgData name="Rajkumar Cheney Krishnan" userId="ea01f48e-78a0-419f-b0c5-17f78ad4393d" providerId="ADAL" clId="{19F8AACF-46C4-4F25-BEC8-ECFDDF7141C3}" dt="2021-08-04T21:38:31.390" v="1706"/>
          <ac:graphicFrameMkLst>
            <pc:docMk/>
            <pc:sldMk cId="3742223150" sldId="282"/>
            <ac:graphicFrameMk id="4" creationId="{8221081A-508A-4F85-B32D-E433108D0396}"/>
          </ac:graphicFrameMkLst>
        </pc:graphicFrameChg>
        <pc:picChg chg="add mod">
          <ac:chgData name="Rajkumar Cheney Krishnan" userId="ea01f48e-78a0-419f-b0c5-17f78ad4393d" providerId="ADAL" clId="{19F8AACF-46C4-4F25-BEC8-ECFDDF7141C3}" dt="2021-08-04T21:40:43.255" v="1727" actId="14100"/>
          <ac:picMkLst>
            <pc:docMk/>
            <pc:sldMk cId="3742223150" sldId="282"/>
            <ac:picMk id="7" creationId="{DAF1C0C2-0C11-4AA2-8138-C76FD9BB2FB8}"/>
          </ac:picMkLst>
        </pc:picChg>
        <pc:picChg chg="del">
          <ac:chgData name="Rajkumar Cheney Krishnan" userId="ea01f48e-78a0-419f-b0c5-17f78ad4393d" providerId="ADAL" clId="{19F8AACF-46C4-4F25-BEC8-ECFDDF7141C3}" dt="2021-08-04T21:38:32.994" v="1707" actId="478"/>
          <ac:picMkLst>
            <pc:docMk/>
            <pc:sldMk cId="3742223150" sldId="282"/>
            <ac:picMk id="8" creationId="{80BAD619-2A69-4C98-AA58-86E7E47CB748}"/>
          </ac:picMkLst>
        </pc:picChg>
      </pc:sldChg>
      <pc:sldChg chg="delSp modSp add mod">
        <pc:chgData name="Rajkumar Cheney Krishnan" userId="ea01f48e-78a0-419f-b0c5-17f78ad4393d" providerId="ADAL" clId="{19F8AACF-46C4-4F25-BEC8-ECFDDF7141C3}" dt="2021-08-05T21:53:58.347" v="2514" actId="20577"/>
        <pc:sldMkLst>
          <pc:docMk/>
          <pc:sldMk cId="4012195562" sldId="283"/>
        </pc:sldMkLst>
        <pc:spChg chg="mod">
          <ac:chgData name="Rajkumar Cheney Krishnan" userId="ea01f48e-78a0-419f-b0c5-17f78ad4393d" providerId="ADAL" clId="{19F8AACF-46C4-4F25-BEC8-ECFDDF7141C3}" dt="2021-08-05T21:53:58.347" v="2514" actId="20577"/>
          <ac:spMkLst>
            <pc:docMk/>
            <pc:sldMk cId="4012195562" sldId="283"/>
            <ac:spMk id="3" creationId="{00000000-0000-0000-0000-000000000000}"/>
          </ac:spMkLst>
        </pc:spChg>
        <pc:picChg chg="del">
          <ac:chgData name="Rajkumar Cheney Krishnan" userId="ea01f48e-78a0-419f-b0c5-17f78ad4393d" providerId="ADAL" clId="{19F8AACF-46C4-4F25-BEC8-ECFDDF7141C3}" dt="2021-08-04T21:41:57.795" v="1750" actId="478"/>
          <ac:picMkLst>
            <pc:docMk/>
            <pc:sldMk cId="4012195562" sldId="283"/>
            <ac:picMk id="7" creationId="{DAF1C0C2-0C11-4AA2-8138-C76FD9BB2FB8}"/>
          </ac:picMkLst>
        </pc:picChg>
      </pc:sldChg>
      <pc:sldChg chg="addSp modSp add mod">
        <pc:chgData name="Rajkumar Cheney Krishnan" userId="ea01f48e-78a0-419f-b0c5-17f78ad4393d" providerId="ADAL" clId="{19F8AACF-46C4-4F25-BEC8-ECFDDF7141C3}" dt="2021-08-05T21:54:12.130" v="2516" actId="20577"/>
        <pc:sldMkLst>
          <pc:docMk/>
          <pc:sldMk cId="3167479905" sldId="284"/>
        </pc:sldMkLst>
        <pc:spChg chg="mod">
          <ac:chgData name="Rajkumar Cheney Krishnan" userId="ea01f48e-78a0-419f-b0c5-17f78ad4393d" providerId="ADAL" clId="{19F8AACF-46C4-4F25-BEC8-ECFDDF7141C3}" dt="2021-08-05T21:54:12.130" v="2516" actId="20577"/>
          <ac:spMkLst>
            <pc:docMk/>
            <pc:sldMk cId="3167479905" sldId="284"/>
            <ac:spMk id="3" creationId="{00000000-0000-0000-0000-000000000000}"/>
          </ac:spMkLst>
        </pc:spChg>
        <pc:picChg chg="add mod">
          <ac:chgData name="Rajkumar Cheney Krishnan" userId="ea01f48e-78a0-419f-b0c5-17f78ad4393d" providerId="ADAL" clId="{19F8AACF-46C4-4F25-BEC8-ECFDDF7141C3}" dt="2021-08-04T22:00:22.533" v="2107" actId="1076"/>
          <ac:picMkLst>
            <pc:docMk/>
            <pc:sldMk cId="3167479905" sldId="284"/>
            <ac:picMk id="6" creationId="{2C2490DC-8FCE-41DC-825A-261B53F4B256}"/>
          </ac:picMkLst>
        </pc:picChg>
      </pc:sldChg>
      <pc:sldChg chg="addSp delSp modSp add mod">
        <pc:chgData name="Rajkumar Cheney Krishnan" userId="ea01f48e-78a0-419f-b0c5-17f78ad4393d" providerId="ADAL" clId="{19F8AACF-46C4-4F25-BEC8-ECFDDF7141C3}" dt="2021-08-04T22:07:17.422" v="2379" actId="14100"/>
        <pc:sldMkLst>
          <pc:docMk/>
          <pc:sldMk cId="4248708681" sldId="285"/>
        </pc:sldMkLst>
        <pc:spChg chg="mod">
          <ac:chgData name="Rajkumar Cheney Krishnan" userId="ea01f48e-78a0-419f-b0c5-17f78ad4393d" providerId="ADAL" clId="{19F8AACF-46C4-4F25-BEC8-ECFDDF7141C3}" dt="2021-08-04T22:07:17.422" v="2379" actId="14100"/>
          <ac:spMkLst>
            <pc:docMk/>
            <pc:sldMk cId="4248708681" sldId="285"/>
            <ac:spMk id="3" creationId="{00000000-0000-0000-0000-000000000000}"/>
          </ac:spMkLst>
        </pc:spChg>
        <pc:picChg chg="del">
          <ac:chgData name="Rajkumar Cheney Krishnan" userId="ea01f48e-78a0-419f-b0c5-17f78ad4393d" providerId="ADAL" clId="{19F8AACF-46C4-4F25-BEC8-ECFDDF7141C3}" dt="2021-08-04T21:59:46.659" v="2090" actId="478"/>
          <ac:picMkLst>
            <pc:docMk/>
            <pc:sldMk cId="4248708681" sldId="285"/>
            <ac:picMk id="6" creationId="{2C2490DC-8FCE-41DC-825A-261B53F4B256}"/>
          </ac:picMkLst>
        </pc:picChg>
        <pc:picChg chg="add del mod">
          <ac:chgData name="Rajkumar Cheney Krishnan" userId="ea01f48e-78a0-419f-b0c5-17f78ad4393d" providerId="ADAL" clId="{19F8AACF-46C4-4F25-BEC8-ECFDDF7141C3}" dt="2021-08-04T22:05:22.784" v="2268" actId="478"/>
          <ac:picMkLst>
            <pc:docMk/>
            <pc:sldMk cId="4248708681" sldId="285"/>
            <ac:picMk id="7" creationId="{ECBB093B-CAAC-4A9A-8D6A-6AEEBCEDA38E}"/>
          </ac:picMkLst>
        </pc:picChg>
        <pc:picChg chg="add mod">
          <ac:chgData name="Rajkumar Cheney Krishnan" userId="ea01f48e-78a0-419f-b0c5-17f78ad4393d" providerId="ADAL" clId="{19F8AACF-46C4-4F25-BEC8-ECFDDF7141C3}" dt="2021-08-04T22:05:29.413" v="2272" actId="14100"/>
          <ac:picMkLst>
            <pc:docMk/>
            <pc:sldMk cId="4248708681" sldId="285"/>
            <ac:picMk id="9" creationId="{7DF5D9B9-E925-455C-BF77-D297C7423800}"/>
          </ac:picMkLst>
        </pc:picChg>
      </pc:sldChg>
      <pc:sldChg chg="modSp add mod">
        <pc:chgData name="Rajkumar Cheney Krishnan" userId="ea01f48e-78a0-419f-b0c5-17f78ad4393d" providerId="ADAL" clId="{19F8AACF-46C4-4F25-BEC8-ECFDDF7141C3}" dt="2021-08-04T22:07:48.742" v="2385" actId="14100"/>
        <pc:sldMkLst>
          <pc:docMk/>
          <pc:sldMk cId="2309145153" sldId="286"/>
        </pc:sldMkLst>
        <pc:spChg chg="mod">
          <ac:chgData name="Rajkumar Cheney Krishnan" userId="ea01f48e-78a0-419f-b0c5-17f78ad4393d" providerId="ADAL" clId="{19F8AACF-46C4-4F25-BEC8-ECFDDF7141C3}" dt="2021-08-04T22:07:41.277" v="2382" actId="1076"/>
          <ac:spMkLst>
            <pc:docMk/>
            <pc:sldMk cId="2309145153" sldId="286"/>
            <ac:spMk id="3" creationId="{00000000-0000-0000-0000-000000000000}"/>
          </ac:spMkLst>
        </pc:spChg>
        <pc:picChg chg="mod">
          <ac:chgData name="Rajkumar Cheney Krishnan" userId="ea01f48e-78a0-419f-b0c5-17f78ad4393d" providerId="ADAL" clId="{19F8AACF-46C4-4F25-BEC8-ECFDDF7141C3}" dt="2021-08-04T22:07:48.742" v="2385" actId="14100"/>
          <ac:picMkLst>
            <pc:docMk/>
            <pc:sldMk cId="2309145153" sldId="286"/>
            <ac:picMk id="7" creationId="{ECBB093B-CAAC-4A9A-8D6A-6AEEBCEDA38E}"/>
          </ac:picMkLst>
        </pc:picChg>
      </pc:sldChg>
      <pc:sldChg chg="addSp delSp modSp add mod">
        <pc:chgData name="Rajkumar Cheney Krishnan" userId="ea01f48e-78a0-419f-b0c5-17f78ad4393d" providerId="ADAL" clId="{19F8AACF-46C4-4F25-BEC8-ECFDDF7141C3}" dt="2021-08-04T22:09:24.389" v="2410" actId="14100"/>
        <pc:sldMkLst>
          <pc:docMk/>
          <pc:sldMk cId="2817924251" sldId="287"/>
        </pc:sldMkLst>
        <pc:spChg chg="mod">
          <ac:chgData name="Rajkumar Cheney Krishnan" userId="ea01f48e-78a0-419f-b0c5-17f78ad4393d" providerId="ADAL" clId="{19F8AACF-46C4-4F25-BEC8-ECFDDF7141C3}" dt="2021-08-04T22:09:14.631" v="2408" actId="1076"/>
          <ac:spMkLst>
            <pc:docMk/>
            <pc:sldMk cId="2817924251" sldId="287"/>
            <ac:spMk id="3" creationId="{00000000-0000-0000-0000-000000000000}"/>
          </ac:spMkLst>
        </pc:spChg>
        <pc:picChg chg="add mod">
          <ac:chgData name="Rajkumar Cheney Krishnan" userId="ea01f48e-78a0-419f-b0c5-17f78ad4393d" providerId="ADAL" clId="{19F8AACF-46C4-4F25-BEC8-ECFDDF7141C3}" dt="2021-08-04T22:09:24.389" v="2410" actId="14100"/>
          <ac:picMkLst>
            <pc:docMk/>
            <pc:sldMk cId="2817924251" sldId="287"/>
            <ac:picMk id="6" creationId="{8053B7BC-3ED5-4170-B29D-B59AE5A5A17C}"/>
          </ac:picMkLst>
        </pc:picChg>
        <pc:picChg chg="del">
          <ac:chgData name="Rajkumar Cheney Krishnan" userId="ea01f48e-78a0-419f-b0c5-17f78ad4393d" providerId="ADAL" clId="{19F8AACF-46C4-4F25-BEC8-ECFDDF7141C3}" dt="2021-08-04T22:09:00.699" v="2401" actId="478"/>
          <ac:picMkLst>
            <pc:docMk/>
            <pc:sldMk cId="2817924251" sldId="287"/>
            <ac:picMk id="7" creationId="{ECBB093B-CAAC-4A9A-8D6A-6AEEBCEDA38E}"/>
          </ac:picMkLst>
        </pc:picChg>
      </pc:sldChg>
      <pc:sldChg chg="addSp delSp modSp add del mod">
        <pc:chgData name="Rajkumar Cheney Krishnan" userId="ea01f48e-78a0-419f-b0c5-17f78ad4393d" providerId="ADAL" clId="{19F8AACF-46C4-4F25-BEC8-ECFDDF7141C3}" dt="2021-08-05T22:47:34.767" v="2934" actId="1076"/>
        <pc:sldMkLst>
          <pc:docMk/>
          <pc:sldMk cId="106258195" sldId="288"/>
        </pc:sldMkLst>
        <pc:spChg chg="mod">
          <ac:chgData name="Rajkumar Cheney Krishnan" userId="ea01f48e-78a0-419f-b0c5-17f78ad4393d" providerId="ADAL" clId="{19F8AACF-46C4-4F25-BEC8-ECFDDF7141C3}" dt="2021-08-05T22:45:54.007" v="2916" actId="20577"/>
          <ac:spMkLst>
            <pc:docMk/>
            <pc:sldMk cId="106258195" sldId="288"/>
            <ac:spMk id="3" creationId="{00000000-0000-0000-0000-000000000000}"/>
          </ac:spMkLst>
        </pc:spChg>
        <pc:graphicFrameChg chg="mod">
          <ac:chgData name="Rajkumar Cheney Krishnan" userId="ea01f48e-78a0-419f-b0c5-17f78ad4393d" providerId="ADAL" clId="{19F8AACF-46C4-4F25-BEC8-ECFDDF7141C3}" dt="2021-08-05T22:41:46.904" v="2871"/>
          <ac:graphicFrameMkLst>
            <pc:docMk/>
            <pc:sldMk cId="106258195" sldId="288"/>
            <ac:graphicFrameMk id="4" creationId="{8221081A-508A-4F85-B32D-E433108D0396}"/>
          </ac:graphicFrameMkLst>
        </pc:graphicFrameChg>
        <pc:picChg chg="del">
          <ac:chgData name="Rajkumar Cheney Krishnan" userId="ea01f48e-78a0-419f-b0c5-17f78ad4393d" providerId="ADAL" clId="{19F8AACF-46C4-4F25-BEC8-ECFDDF7141C3}" dt="2021-08-05T22:44:57.682" v="2872" actId="478"/>
          <ac:picMkLst>
            <pc:docMk/>
            <pc:sldMk cId="106258195" sldId="288"/>
            <ac:picMk id="6" creationId="{2C2490DC-8FCE-41DC-825A-261B53F4B256}"/>
          </ac:picMkLst>
        </pc:picChg>
        <pc:picChg chg="add mod">
          <ac:chgData name="Rajkumar Cheney Krishnan" userId="ea01f48e-78a0-419f-b0c5-17f78ad4393d" providerId="ADAL" clId="{19F8AACF-46C4-4F25-BEC8-ECFDDF7141C3}" dt="2021-08-05T22:47:34.767" v="2934" actId="1076"/>
          <ac:picMkLst>
            <pc:docMk/>
            <pc:sldMk cId="106258195" sldId="288"/>
            <ac:picMk id="7" creationId="{A8A16830-7072-4FA5-B87A-D779E8EAB041}"/>
          </ac:picMkLst>
        </pc:picChg>
      </pc:sldChg>
      <pc:sldChg chg="addSp delSp modSp add mod">
        <pc:chgData name="Rajkumar Cheney Krishnan" userId="ea01f48e-78a0-419f-b0c5-17f78ad4393d" providerId="ADAL" clId="{19F8AACF-46C4-4F25-BEC8-ECFDDF7141C3}" dt="2021-08-05T22:47:09.865" v="2931" actId="20577"/>
        <pc:sldMkLst>
          <pc:docMk/>
          <pc:sldMk cId="876673327" sldId="289"/>
        </pc:sldMkLst>
        <pc:spChg chg="mod">
          <ac:chgData name="Rajkumar Cheney Krishnan" userId="ea01f48e-78a0-419f-b0c5-17f78ad4393d" providerId="ADAL" clId="{19F8AACF-46C4-4F25-BEC8-ECFDDF7141C3}" dt="2021-08-05T22:47:09.865" v="2931" actId="20577"/>
          <ac:spMkLst>
            <pc:docMk/>
            <pc:sldMk cId="876673327" sldId="289"/>
            <ac:spMk id="3" creationId="{00000000-0000-0000-0000-000000000000}"/>
          </ac:spMkLst>
        </pc:spChg>
        <pc:picChg chg="add mod">
          <ac:chgData name="Rajkumar Cheney Krishnan" userId="ea01f48e-78a0-419f-b0c5-17f78ad4393d" providerId="ADAL" clId="{19F8AACF-46C4-4F25-BEC8-ECFDDF7141C3}" dt="2021-08-05T22:47:05.016" v="2925" actId="1076"/>
          <ac:picMkLst>
            <pc:docMk/>
            <pc:sldMk cId="876673327" sldId="289"/>
            <ac:picMk id="6" creationId="{A837D813-2CB3-4E12-B744-338BD3629296}"/>
          </ac:picMkLst>
        </pc:picChg>
        <pc:picChg chg="del mod">
          <ac:chgData name="Rajkumar Cheney Krishnan" userId="ea01f48e-78a0-419f-b0c5-17f78ad4393d" providerId="ADAL" clId="{19F8AACF-46C4-4F25-BEC8-ECFDDF7141C3}" dt="2021-08-05T22:46:04.844" v="2920" actId="478"/>
          <ac:picMkLst>
            <pc:docMk/>
            <pc:sldMk cId="876673327" sldId="289"/>
            <ac:picMk id="7" creationId="{A8A16830-7072-4FA5-B87A-D779E8EAB041}"/>
          </ac:picMkLst>
        </pc:picChg>
      </pc:sldChg>
      <pc:sldChg chg="addSp delSp modSp add del mod">
        <pc:chgData name="Rajkumar Cheney Krishnan" userId="ea01f48e-78a0-419f-b0c5-17f78ad4393d" providerId="ADAL" clId="{19F8AACF-46C4-4F25-BEC8-ECFDDF7141C3}" dt="2021-08-05T23:19:23.487" v="3016" actId="47"/>
        <pc:sldMkLst>
          <pc:docMk/>
          <pc:sldMk cId="617138555" sldId="290"/>
        </pc:sldMkLst>
        <pc:picChg chg="add del mod">
          <ac:chgData name="Rajkumar Cheney Krishnan" userId="ea01f48e-78a0-419f-b0c5-17f78ad4393d" providerId="ADAL" clId="{19F8AACF-46C4-4F25-BEC8-ECFDDF7141C3}" dt="2021-08-05T23:14:04.398" v="2945" actId="22"/>
          <ac:picMkLst>
            <pc:docMk/>
            <pc:sldMk cId="617138555" sldId="290"/>
            <ac:picMk id="6" creationId="{F434195B-C475-4EFA-95A0-99375DFD4A67}"/>
          </ac:picMkLst>
        </pc:picChg>
        <pc:picChg chg="add del">
          <ac:chgData name="Rajkumar Cheney Krishnan" userId="ea01f48e-78a0-419f-b0c5-17f78ad4393d" providerId="ADAL" clId="{19F8AACF-46C4-4F25-BEC8-ECFDDF7141C3}" dt="2021-08-05T23:14:05.461" v="2946" actId="478"/>
          <ac:picMkLst>
            <pc:docMk/>
            <pc:sldMk cId="617138555" sldId="290"/>
            <ac:picMk id="7" creationId="{ECBB093B-CAAC-4A9A-8D6A-6AEEBCEDA38E}"/>
          </ac:picMkLst>
        </pc:picChg>
      </pc:sldChg>
      <pc:sldChg chg="addSp delSp modSp add mod">
        <pc:chgData name="Rajkumar Cheney Krishnan" userId="ea01f48e-78a0-419f-b0c5-17f78ad4393d" providerId="ADAL" clId="{19F8AACF-46C4-4F25-BEC8-ECFDDF7141C3}" dt="2021-08-05T23:22:28.015" v="3036" actId="20577"/>
        <pc:sldMkLst>
          <pc:docMk/>
          <pc:sldMk cId="4141613579" sldId="291"/>
        </pc:sldMkLst>
        <pc:spChg chg="mod">
          <ac:chgData name="Rajkumar Cheney Krishnan" userId="ea01f48e-78a0-419f-b0c5-17f78ad4393d" providerId="ADAL" clId="{19F8AACF-46C4-4F25-BEC8-ECFDDF7141C3}" dt="2021-08-05T23:22:28.015" v="3036" actId="20577"/>
          <ac:spMkLst>
            <pc:docMk/>
            <pc:sldMk cId="4141613579" sldId="291"/>
            <ac:spMk id="3" creationId="{00000000-0000-0000-0000-000000000000}"/>
          </ac:spMkLst>
        </pc:spChg>
        <pc:graphicFrameChg chg="add del modGraphic">
          <ac:chgData name="Rajkumar Cheney Krishnan" userId="ea01f48e-78a0-419f-b0c5-17f78ad4393d" providerId="ADAL" clId="{19F8AACF-46C4-4F25-BEC8-ECFDDF7141C3}" dt="2021-08-05T23:17:49.661" v="2951" actId="478"/>
          <ac:graphicFrameMkLst>
            <pc:docMk/>
            <pc:sldMk cId="4141613579" sldId="291"/>
            <ac:graphicFrameMk id="6" creationId="{F46F0F70-268D-4648-AE3F-B26E3AA54457}"/>
          </ac:graphicFrameMkLst>
        </pc:graphicFrameChg>
        <pc:picChg chg="del mod">
          <ac:chgData name="Rajkumar Cheney Krishnan" userId="ea01f48e-78a0-419f-b0c5-17f78ad4393d" providerId="ADAL" clId="{19F8AACF-46C4-4F25-BEC8-ECFDDF7141C3}" dt="2021-08-05T23:17:56.347" v="2953" actId="478"/>
          <ac:picMkLst>
            <pc:docMk/>
            <pc:sldMk cId="4141613579" sldId="291"/>
            <ac:picMk id="7" creationId="{ECBB093B-CAAC-4A9A-8D6A-6AEEBCEDA38E}"/>
          </ac:picMkLst>
        </pc:picChg>
        <pc:picChg chg="add mod">
          <ac:chgData name="Rajkumar Cheney Krishnan" userId="ea01f48e-78a0-419f-b0c5-17f78ad4393d" providerId="ADAL" clId="{19F8AACF-46C4-4F25-BEC8-ECFDDF7141C3}" dt="2021-08-05T23:18:04.289" v="2957" actId="14100"/>
          <ac:picMkLst>
            <pc:docMk/>
            <pc:sldMk cId="4141613579" sldId="291"/>
            <ac:picMk id="9" creationId="{78C00D46-B9E7-40C5-B6BF-076E58976872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FA83B3-BF5C-4A6C-938C-B2FB7D690DA3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03143C-6C60-49A5-9C86-15F450F9D3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1129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1859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9439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4000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094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595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5068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550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539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0416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0610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03143C-6C60-49A5-9C86-15F450F9D3F3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275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9144002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6" name="Group 65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67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68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9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0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71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2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3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4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5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6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7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8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79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0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1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2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3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4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5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6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7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8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89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0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1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2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3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4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5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96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7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8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9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0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1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2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3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4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5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6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7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08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9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0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1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2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3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4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5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6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7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8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19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20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0238" y="1122363"/>
            <a:ext cx="6593681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0238" y="3602038"/>
            <a:ext cx="6593681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801052" y="5410202"/>
            <a:ext cx="2057400" cy="365125"/>
          </a:xfrm>
        </p:spPr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00237" y="5410202"/>
            <a:ext cx="384366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5603" y="5410200"/>
            <a:ext cx="578317" cy="365125"/>
          </a:xfrm>
        </p:spPr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756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58" y="4304665"/>
            <a:ext cx="7434266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56058" y="606426"/>
            <a:ext cx="7434266" cy="3299778"/>
          </a:xfrm>
          <a:prstGeom prst="round2DiagRect">
            <a:avLst>
              <a:gd name="adj1" fmla="val 5101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024" y="5124020"/>
            <a:ext cx="7433144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408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93" y="609600"/>
            <a:ext cx="7429466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058" y="4419600"/>
            <a:ext cx="7428344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3980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4659" y="609600"/>
            <a:ext cx="6977064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290484" y="3365557"/>
            <a:ext cx="6564224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058" y="4309919"/>
            <a:ext cx="74295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696579" y="71845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817473" y="2764972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980933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58" y="2134042"/>
            <a:ext cx="74295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023" y="4657655"/>
            <a:ext cx="7428379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103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56060" y="609600"/>
            <a:ext cx="7429499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856058" y="2674463"/>
            <a:ext cx="2397674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856059" y="3360263"/>
            <a:ext cx="2396432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386075" y="2677635"/>
            <a:ext cx="238828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3386075" y="3363435"/>
            <a:ext cx="238895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89332" y="2674463"/>
            <a:ext cx="2396226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5889332" y="3360263"/>
            <a:ext cx="2396226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2253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856059" y="609600"/>
            <a:ext cx="7429499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856060" y="4404596"/>
            <a:ext cx="239643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856060" y="2666998"/>
            <a:ext cx="239643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856060" y="4980859"/>
            <a:ext cx="239643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366790" y="4404596"/>
            <a:ext cx="24003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366790" y="2666998"/>
            <a:ext cx="2399205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3365695" y="4980857"/>
            <a:ext cx="24003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89426" y="4404595"/>
            <a:ext cx="2393056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5889332" y="2666998"/>
            <a:ext cx="2396227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1800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5889332" y="4980855"/>
            <a:ext cx="2396226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8144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032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1" y="609600"/>
            <a:ext cx="1503758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6057" y="609600"/>
            <a:ext cx="5811443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775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856060" y="618518"/>
            <a:ext cx="7429499" cy="147857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8" name="Content Placeholder 2"/>
          <p:cNvSpPr>
            <a:spLocks noGrp="1"/>
          </p:cNvSpPr>
          <p:nvPr>
            <p:ph idx="1"/>
          </p:nvPr>
        </p:nvSpPr>
        <p:spPr>
          <a:xfrm>
            <a:off x="856060" y="2249487"/>
            <a:ext cx="7429499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9" name="Date Placeholder 3"/>
          <p:cNvSpPr>
            <a:spLocks noGrp="1"/>
          </p:cNvSpPr>
          <p:nvPr>
            <p:ph type="dt" sz="half" idx="10"/>
          </p:nvPr>
        </p:nvSpPr>
        <p:spPr>
          <a:xfrm>
            <a:off x="5592691" y="5883277"/>
            <a:ext cx="2057400" cy="365125"/>
          </a:xfrm>
        </p:spPr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5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6059" y="5883276"/>
            <a:ext cx="4679482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07241" y="5883275"/>
            <a:ext cx="578317" cy="365125"/>
          </a:xfrm>
        </p:spPr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543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58" y="1419227"/>
            <a:ext cx="74295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058" y="4424362"/>
            <a:ext cx="74295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769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6058" y="2249486"/>
            <a:ext cx="3658792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2249486"/>
            <a:ext cx="3656408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202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58" y="619127"/>
            <a:ext cx="7429500" cy="147796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78902" y="2249486"/>
            <a:ext cx="3435949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058" y="3073398"/>
            <a:ext cx="3658793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51992" y="2249485"/>
            <a:ext cx="3433565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3073398"/>
            <a:ext cx="3656408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9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371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291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029" y="609601"/>
            <a:ext cx="2892028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150" y="592666"/>
            <a:ext cx="4418407" cy="519853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0029" y="2249486"/>
            <a:ext cx="2892028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715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61" y="609600"/>
            <a:ext cx="3753962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832866" y="609600"/>
            <a:ext cx="3452693" cy="5181602"/>
          </a:xfrm>
          <a:prstGeom prst="round2DiagRect">
            <a:avLst>
              <a:gd name="adj1" fmla="val 6074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320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059" y="2249486"/>
            <a:ext cx="3753964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1486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0F8020CD-3E38-4D4D-8293-66DA9DE65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3030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1" imgH="472" progId="TCLayout.ActiveDocument.1">
                  <p:embed/>
                </p:oleObj>
              </mc:Choice>
              <mc:Fallback>
                <p:oleObj name="think-cell Slide" r:id="rId20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2">
            <a:alphaModFix amt="3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9144002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9041774" cy="6858001"/>
            <a:chOff x="-14288" y="0"/>
            <a:chExt cx="9041774" cy="6858001"/>
          </a:xfrm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8352798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6060" y="618518"/>
            <a:ext cx="7429499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060" y="2249487"/>
            <a:ext cx="74294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2691" y="588327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750396-183E-47E6-A9AB-8B4DFEB4B0B5}" type="datetimeFigureOut">
              <a:rPr lang="en-US" smtClean="0"/>
              <a:pPr/>
              <a:t>8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6059" y="5883276"/>
            <a:ext cx="46794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7241" y="5883275"/>
            <a:ext cx="5783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5794EE-3F42-49F2-9337-8EB40D481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5461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www.kaggle.com/kumarajarshi/life-expectancy-who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F89165-74A0-4804-A7BD-069A7CCE65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45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pPr algn="ctr"/>
            <a:r>
              <a:rPr lang="en-US" sz="6000" dirty="0"/>
              <a:t>Factors affecting life expectancy</a:t>
            </a:r>
            <a:br>
              <a:rPr lang="en-US" sz="6600" dirty="0"/>
            </a:br>
            <a:endParaRPr lang="en-US" sz="6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00238" y="4114800"/>
            <a:ext cx="6593681" cy="1143000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Rajkumar Cheney </a:t>
            </a:r>
            <a:r>
              <a:rPr lang="en-US" sz="3600" dirty="0" err="1"/>
              <a:t>krishnan</a:t>
            </a:r>
            <a:endParaRPr lang="en-US" sz="36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7849" y="1733222"/>
            <a:ext cx="7704667" cy="5257800"/>
          </a:xfrm>
        </p:spPr>
        <p:txBody>
          <a:bodyPr>
            <a:no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r>
              <a:rPr lang="en-US" dirty="0"/>
              <a:t>Drinking alcohol increases life expectancy???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CBB093B-CAAC-4A9A-8D6A-6AEEBCEDA3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800" y="1066800"/>
            <a:ext cx="7353814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45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7849" y="1733222"/>
            <a:ext cx="7704667" cy="5257800"/>
          </a:xfrm>
        </p:spPr>
        <p:txBody>
          <a:bodyPr>
            <a:no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r>
              <a:rPr lang="en-US" dirty="0"/>
              <a:t>Years of schooling correlated with longer life expectancy?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C00D46-B9E7-40C5-B6BF-076E589768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800" y="1008239"/>
            <a:ext cx="7290351" cy="5181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613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5568" y="800100"/>
            <a:ext cx="7704667" cy="5257800"/>
          </a:xfrm>
        </p:spPr>
        <p:txBody>
          <a:bodyPr>
            <a:noAutofit/>
          </a:bodyPr>
          <a:lstStyle/>
          <a:p>
            <a:r>
              <a:rPr lang="en-US" dirty="0"/>
              <a:t>Heat map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53B7BC-3ED5-4170-B29D-B59AE5A5A1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765" y="1219199"/>
            <a:ext cx="8670235" cy="663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9242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081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209800"/>
            <a:ext cx="8001000" cy="2743200"/>
          </a:xfrm>
        </p:spPr>
        <p:txBody>
          <a:bodyPr vert="horz">
            <a:normAutofit/>
          </a:bodyPr>
          <a:lstStyle/>
          <a:p>
            <a:pPr algn="ctr"/>
            <a:r>
              <a:rPr lang="en-US" sz="8000" dirty="0"/>
              <a:t>THE END</a:t>
            </a:r>
          </a:p>
        </p:txBody>
      </p:sp>
    </p:spTree>
    <p:extLst>
      <p:ext uri="{BB962C8B-B14F-4D97-AF65-F5344CB8AC3E}">
        <p14:creationId xmlns:p14="http://schemas.microsoft.com/office/powerpoint/2010/main" val="1836757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055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228600"/>
            <a:ext cx="7429499" cy="9906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objec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2133" y="1219200"/>
            <a:ext cx="7704667" cy="5257800"/>
          </a:xfrm>
        </p:spPr>
        <p:txBody>
          <a:bodyPr>
            <a:noAutofit/>
          </a:bodyPr>
          <a:lstStyle/>
          <a:p>
            <a:r>
              <a:rPr lang="en-US" dirty="0"/>
              <a:t>Identify factors that influence life expectancy in different countries.</a:t>
            </a:r>
          </a:p>
          <a:p>
            <a:r>
              <a:rPr lang="en-US" dirty="0"/>
              <a:t>For example, do the following factors impact life expectancy?</a:t>
            </a:r>
          </a:p>
          <a:p>
            <a:pPr lvl="1"/>
            <a:r>
              <a:rPr lang="en-US" dirty="0"/>
              <a:t>Immunization coverage</a:t>
            </a:r>
          </a:p>
          <a:p>
            <a:pPr lvl="1"/>
            <a:r>
              <a:rPr lang="en-US" dirty="0"/>
              <a:t>GDP levels</a:t>
            </a:r>
          </a:p>
          <a:p>
            <a:pPr lvl="1"/>
            <a:r>
              <a:rPr lang="en-US" dirty="0"/>
              <a:t>Population size</a:t>
            </a:r>
          </a:p>
          <a:p>
            <a:pPr lvl="1"/>
            <a:r>
              <a:rPr lang="en-US" dirty="0"/>
              <a:t>Government expenditure on healthcare (percentage)</a:t>
            </a:r>
          </a:p>
          <a:p>
            <a:pPr lvl="1"/>
            <a:r>
              <a:rPr lang="en-US" dirty="0"/>
              <a:t>Level of schooling</a:t>
            </a:r>
          </a:p>
          <a:p>
            <a:pPr lvl="1"/>
            <a:r>
              <a:rPr lang="en-US" dirty="0"/>
              <a:t>BMI</a:t>
            </a:r>
          </a:p>
          <a:p>
            <a:pPr lvl="1"/>
            <a:r>
              <a:rPr lang="en-US" dirty="0"/>
              <a:t>Alcohol consumption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5262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Data sour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2133" y="1219200"/>
            <a:ext cx="7704667" cy="5257800"/>
          </a:xfrm>
        </p:spPr>
        <p:txBody>
          <a:bodyPr>
            <a:noAutofit/>
          </a:bodyPr>
          <a:lstStyle/>
          <a:p>
            <a:r>
              <a:rPr lang="en-US" dirty="0"/>
              <a:t>Data source: </a:t>
            </a:r>
            <a:r>
              <a:rPr lang="en-US" dirty="0">
                <a:hlinkClick r:id="rId6"/>
              </a:rPr>
              <a:t>https://www.kaggle.com/kumarajarshi/life-expectancy-who</a:t>
            </a:r>
            <a:endParaRPr lang="en-US" dirty="0"/>
          </a:p>
          <a:p>
            <a:r>
              <a:rPr lang="en-US" dirty="0"/>
              <a:t>Combination of multiple datasets from WHO and UN on life expectancy, immunization levels, mortality data, economical factors and social facto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BAD619-2A69-4C98-AA58-86E7E47CB74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666" r="8350"/>
          <a:stretch/>
        </p:blipFill>
        <p:spPr>
          <a:xfrm>
            <a:off x="46392" y="3965859"/>
            <a:ext cx="9051215" cy="289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038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687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2133" y="1219200"/>
            <a:ext cx="7704667" cy="5257800"/>
          </a:xfrm>
        </p:spPr>
        <p:txBody>
          <a:bodyPr>
            <a:noAutofit/>
          </a:bodyPr>
          <a:lstStyle/>
          <a:p>
            <a:r>
              <a:rPr lang="en-US" dirty="0"/>
              <a:t>df.info(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F1C0C2-0C11-4AA2-8138-C76FD9BB2F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2225" y="1219200"/>
            <a:ext cx="5324474" cy="550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223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2133" y="1219200"/>
            <a:ext cx="7704667" cy="5257800"/>
          </a:xfrm>
        </p:spPr>
        <p:txBody>
          <a:bodyPr>
            <a:noAutofit/>
          </a:bodyPr>
          <a:lstStyle/>
          <a:p>
            <a:r>
              <a:rPr lang="en-US" dirty="0"/>
              <a:t>Used Pandas to clean data</a:t>
            </a:r>
          </a:p>
          <a:p>
            <a:r>
              <a:rPr lang="en-US" dirty="0"/>
              <a:t>Renamed columns</a:t>
            </a:r>
          </a:p>
          <a:p>
            <a:r>
              <a:rPr lang="en-US" dirty="0"/>
              <a:t>Dropped columns not required</a:t>
            </a:r>
          </a:p>
          <a:p>
            <a:r>
              <a:rPr lang="en-US" dirty="0"/>
              <a:t>Converted columns to appropriate datatypes</a:t>
            </a:r>
          </a:p>
          <a:p>
            <a:r>
              <a:rPr lang="en-US" dirty="0"/>
              <a:t>Handled missing data</a:t>
            </a:r>
          </a:p>
          <a:p>
            <a:r>
              <a:rPr lang="en-US" dirty="0"/>
              <a:t>Filtered data</a:t>
            </a:r>
          </a:p>
        </p:txBody>
      </p:sp>
    </p:spTree>
    <p:extLst>
      <p:ext uri="{BB962C8B-B14F-4D97-AF65-F5344CB8AC3E}">
        <p14:creationId xmlns:p14="http://schemas.microsoft.com/office/powerpoint/2010/main" val="4012195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2133" y="1219200"/>
            <a:ext cx="7704667" cy="5486400"/>
          </a:xfrm>
        </p:spPr>
        <p:txBody>
          <a:bodyPr>
            <a:noAutofit/>
          </a:bodyPr>
          <a:lstStyle/>
          <a:p>
            <a:r>
              <a:rPr lang="en-US" dirty="0"/>
              <a:t>Used Seaborn package to create various visualizat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Life expectancy in developing countries improving, but still lagging developed countri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2490DC-8FCE-41DC-825A-261B53F4B2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1200" y="1752600"/>
            <a:ext cx="5673581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479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8332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5444" y="838200"/>
            <a:ext cx="7704667" cy="5486400"/>
          </a:xfrm>
        </p:spPr>
        <p:txBody>
          <a:bodyPr>
            <a:noAutofit/>
          </a:bodyPr>
          <a:lstStyle/>
          <a:p>
            <a:r>
              <a:rPr lang="en-US" dirty="0"/>
              <a:t>Top 20 countries in life expectanc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A16830-7072-4FA5-B87A-D779E8EAB0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907" y="1392730"/>
            <a:ext cx="8802186" cy="546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581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5444" y="838200"/>
            <a:ext cx="7704667" cy="5486400"/>
          </a:xfrm>
        </p:spPr>
        <p:txBody>
          <a:bodyPr>
            <a:noAutofit/>
          </a:bodyPr>
          <a:lstStyle/>
          <a:p>
            <a:r>
              <a:rPr lang="en-US" dirty="0"/>
              <a:t>Bottom 20 countries in life expectanc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37D813-2CB3-4E12-B744-338BD36292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118" y="1371600"/>
            <a:ext cx="8781764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673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1081A-508A-4F85-B32D-E433108D0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1081A-508A-4F85-B32D-E433108D0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1" y="152400"/>
            <a:ext cx="7429499" cy="1066800"/>
          </a:xfrm>
        </p:spPr>
        <p:txBody>
          <a:bodyPr vert="horz">
            <a:normAutofit/>
          </a:bodyPr>
          <a:lstStyle/>
          <a:p>
            <a:r>
              <a:rPr lang="en-US" sz="4000" dirty="0"/>
              <a:t>Exploratory data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1600200"/>
            <a:ext cx="9037983" cy="5257800"/>
          </a:xfrm>
        </p:spPr>
        <p:txBody>
          <a:bodyPr>
            <a:no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r>
              <a:rPr lang="en-US" dirty="0"/>
              <a:t>High polio vaccination rates are correlated with higher life expectancy.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F5D9B9-E925-455C-BF77-D297C74238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9271" y="990599"/>
            <a:ext cx="7429499" cy="520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708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rcuit">
  <a:themeElements>
    <a:clrScheme name="Circuit">
      <a:dk1>
        <a:sysClr val="windowText" lastClr="000000"/>
      </a:dk1>
      <a:lt1>
        <a:sysClr val="window" lastClr="FFFFFF"/>
      </a:lt1>
      <a:dk2>
        <a:srgbClr val="134770"/>
      </a:dk2>
      <a:lt2>
        <a:srgbClr val="82FFFF"/>
      </a:lt2>
      <a:accent1>
        <a:srgbClr val="9ACD4C"/>
      </a:accent1>
      <a:accent2>
        <a:srgbClr val="FAA93A"/>
      </a:accent2>
      <a:accent3>
        <a:srgbClr val="D35940"/>
      </a:accent3>
      <a:accent4>
        <a:srgbClr val="B258D3"/>
      </a:accent4>
      <a:accent5>
        <a:srgbClr val="63A0CC"/>
      </a:accent5>
      <a:accent6>
        <a:srgbClr val="8AC4A7"/>
      </a:accent6>
      <a:hlink>
        <a:srgbClr val="B8FA56"/>
      </a:hlink>
      <a:folHlink>
        <a:srgbClr val="7AF8CC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90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0911B802-464C-4241-8DD9-B60FF88E379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Circuit]]</Template>
  <TotalTime>6273</TotalTime>
  <Words>224</Words>
  <Application>Microsoft Office PowerPoint</Application>
  <PresentationFormat>On-screen Show (4:3)</PresentationFormat>
  <Paragraphs>141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Tw Cen MT</vt:lpstr>
      <vt:lpstr>Circuit</vt:lpstr>
      <vt:lpstr>think-cell Slide</vt:lpstr>
      <vt:lpstr>Factors affecting life expectancy </vt:lpstr>
      <vt:lpstr>objective</vt:lpstr>
      <vt:lpstr>Data source</vt:lpstr>
      <vt:lpstr>Exploratory data analysis</vt:lpstr>
      <vt:lpstr>Exploratory data analysis</vt:lpstr>
      <vt:lpstr>Exploratory data analysis</vt:lpstr>
      <vt:lpstr>Exploratory data analysis</vt:lpstr>
      <vt:lpstr>Exploratory data analysis</vt:lpstr>
      <vt:lpstr>Exploratory data analysis</vt:lpstr>
      <vt:lpstr>Exploratory data analysis</vt:lpstr>
      <vt:lpstr>Exploratory data analysis</vt:lpstr>
      <vt:lpstr>Exploratory data analysis</vt:lpstr>
      <vt:lpstr>THE 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ing effective PowerPoint Presentations</dc:title>
  <dc:creator>Teresa Copeland</dc:creator>
  <cp:lastModifiedBy>Rajkumar Cheney Krishnan</cp:lastModifiedBy>
  <cp:revision>73</cp:revision>
  <dcterms:created xsi:type="dcterms:W3CDTF">2021-03-28T20:13:59Z</dcterms:created>
  <dcterms:modified xsi:type="dcterms:W3CDTF">2021-08-05T23:22:35Z</dcterms:modified>
</cp:coreProperties>
</file>